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59136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80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222015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389655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方信息（若有）：合作方背景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模式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523</Words>
  <Application>Microsoft Office PowerPoint</Application>
  <PresentationFormat>自定义</PresentationFormat>
  <Paragraphs>154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1</cp:revision>
  <dcterms:created xsi:type="dcterms:W3CDTF">2022-02-15T07:41:51Z</dcterms:created>
  <dcterms:modified xsi:type="dcterms:W3CDTF">2022-04-09T08:23:13Z</dcterms:modified>
</cp:coreProperties>
</file>